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5"/>
  </p:notesMasterIdLst>
  <p:sldIdLst>
    <p:sldId id="274" r:id="rId2"/>
    <p:sldId id="275" r:id="rId3"/>
    <p:sldId id="276" r:id="rId4"/>
    <p:sldId id="277" r:id="rId5"/>
    <p:sldId id="278" r:id="rId6"/>
    <p:sldId id="279" r:id="rId7"/>
    <p:sldId id="280" r:id="rId8"/>
    <p:sldId id="281" r:id="rId9"/>
    <p:sldId id="282" r:id="rId10"/>
    <p:sldId id="283" r:id="rId11"/>
    <p:sldId id="284" r:id="rId12"/>
    <p:sldId id="285" r:id="rId13"/>
    <p:sldId id="28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–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86"/>
  </p:normalViewPr>
  <p:slideViewPr>
    <p:cSldViewPr snapToGrid="0" snapToObjects="1">
      <p:cViewPr varScale="1">
        <p:scale>
          <a:sx n="109" d="100"/>
          <a:sy n="109" d="100"/>
        </p:scale>
        <p:origin x="68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C5F8A-AAE8-CB4F-A04C-7DFB22AFC408}" type="datetimeFigureOut">
              <a:rPr lang="en-US" smtClean="0"/>
              <a:t>3/20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10C9FA-1158-994B-BA74-A698DC5AC0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863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10C9FA-1158-994B-BA74-A698DC5AC09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7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10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4791"/>
            <a:ext cx="10684879" cy="33431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05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1413164"/>
            <a:ext cx="2743200" cy="471299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88473" y="1413164"/>
            <a:ext cx="7347527" cy="4712999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25ACE83-0F60-CC47-802A-4D891EAD32D2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/>
              <a:t>Click to edit Master title style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39189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2907" y="1412384"/>
            <a:ext cx="10684879" cy="51208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653891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 dirty="0"/>
              <a:t>13</a:t>
            </a:r>
            <a:r>
              <a:rPr lang="en-US" baseline="30000" dirty="0"/>
              <a:t>th</a:t>
            </a:r>
            <a:r>
              <a:rPr lang="en-US" dirty="0"/>
              <a:t> June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85551" y="6533217"/>
            <a:ext cx="3860800" cy="3651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r>
              <a:rPr lang="en-US" dirty="0"/>
              <a:t>OoP SOPA inpu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28612" y="6546664"/>
            <a:ext cx="606749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093862CD-2CE4-D846-9F15-15300DCE1B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79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181" y="353406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16181" y="1701007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63C3B79-85AB-484C-B635-28E848BDA4E5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/>
              <a:t>Click to edit Master title style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159456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14759"/>
            <a:ext cx="10684879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42906" y="1600200"/>
            <a:ext cx="5113313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7425" y="1600200"/>
            <a:ext cx="523036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73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4791"/>
            <a:ext cx="10684879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42906" y="1724891"/>
            <a:ext cx="5154876" cy="449984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42906" y="2174875"/>
            <a:ext cx="515487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705600" y="1724890"/>
            <a:ext cx="5310832" cy="449985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705600" y="2174875"/>
            <a:ext cx="53108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455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5150"/>
            <a:ext cx="10684879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16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5CE6F17-BA95-494B-91A3-DCBD76065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036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8474" y="1435101"/>
            <a:ext cx="4932217" cy="365125"/>
          </a:xfrm>
        </p:spPr>
        <p:txBody>
          <a:bodyPr anchor="b"/>
          <a:lstStyle>
            <a:lvl1pPr algn="l">
              <a:defRPr sz="2000" b="1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532" y="1435101"/>
            <a:ext cx="5680357" cy="4691063"/>
          </a:xfrm>
        </p:spPr>
        <p:txBody>
          <a:bodyPr/>
          <a:lstStyle>
            <a:lvl1pPr>
              <a:defRPr sz="30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88473" y="1800226"/>
            <a:ext cx="4932216" cy="432593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DB4AA36-669E-864D-BF7E-6DED31BC9FB0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/>
              <a:t>Click to edit Master title style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284693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181" y="4800600"/>
            <a:ext cx="10709564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16181" y="1350818"/>
            <a:ext cx="10709564" cy="337675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16181" y="5367338"/>
            <a:ext cx="10709564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581F9D-C64A-BB4C-8033-7795EA41917D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/>
              <a:t>Click to edit Master title style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86447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6E10DB-94F4-427F-B3DC-D42B545A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6E10DB-94F4-427F-B3DC-D42B545A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3B75AA-C4C3-4545-B31D-CF0C8405E37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2907" y="955965"/>
            <a:ext cx="10684879" cy="3031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42907" y="1412384"/>
            <a:ext cx="10684879" cy="52553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2508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rgbClr val="FFFFF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41F372-314A-48AF-B343-8A6D0985B3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41F372-314A-48AF-B343-8A6D0985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2A346B4-5205-47DC-95F7-5171B5E738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/>
            <a:endParaRPr lang="en-ZA" sz="3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78933" y="822961"/>
            <a:ext cx="7772400" cy="1682709"/>
          </a:xfrm>
        </p:spPr>
        <p:txBody>
          <a:bodyPr>
            <a:normAutofit/>
          </a:bodyPr>
          <a:lstStyle/>
          <a:p>
            <a:pPr algn="ctr"/>
            <a:r>
              <a:rPr lang="en-US" sz="3600" dirty="0"/>
              <a:t>Economic Impact of COVID-19 on the Gauteng Economy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237781A-F17E-4933-9570-74AD3F900E03}"/>
              </a:ext>
            </a:extLst>
          </p:cNvPr>
          <p:cNvSpPr txBox="1">
            <a:spLocks/>
          </p:cNvSpPr>
          <p:nvPr/>
        </p:nvSpPr>
        <p:spPr>
          <a:xfrm>
            <a:off x="3312907" y="2862662"/>
            <a:ext cx="5904453" cy="130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ZA" sz="2800" b="0" dirty="0">
                <a:solidFill>
                  <a:prstClr val="white"/>
                </a:solidFill>
              </a:rPr>
              <a:t>COVID-19 Economics Team</a:t>
            </a:r>
          </a:p>
          <a:p>
            <a:pPr algn="ctr"/>
            <a:br>
              <a:rPr lang="en-ZA" sz="2800" b="0" dirty="0">
                <a:solidFill>
                  <a:prstClr val="white"/>
                </a:solidFill>
              </a:rPr>
            </a:br>
            <a:r>
              <a:rPr lang="en-ZA" sz="2100" b="0" dirty="0">
                <a:solidFill>
                  <a:prstClr val="white"/>
                </a:solidFill>
              </a:rPr>
              <a:t>20 March 2020</a:t>
            </a:r>
            <a:endParaRPr lang="en-US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62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B57433A-6CDC-0540-9580-96A157434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5891" y="407102"/>
            <a:ext cx="10515600" cy="1325563"/>
          </a:xfrm>
        </p:spPr>
        <p:txBody>
          <a:bodyPr/>
          <a:lstStyle/>
          <a:p>
            <a:r>
              <a:rPr lang="en-US" dirty="0"/>
              <a:t>RESULTS – Maximum Scenario (Sectors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7DDA83F-9373-6142-ADCD-2587887A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2170850"/>
              </p:ext>
            </p:extLst>
          </p:nvPr>
        </p:nvGraphicFramePr>
        <p:xfrm>
          <a:off x="1214650" y="1847833"/>
          <a:ext cx="10687049" cy="3998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41589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500290">
                <a:tc>
                  <a:txBody>
                    <a:bodyPr/>
                    <a:lstStyle/>
                    <a:p>
                      <a:r>
                        <a:rPr lang="en-US" sz="1800" dirty="0"/>
                        <a:t>T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4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6191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6.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3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Hotel and Restaur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5.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1007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3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305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1892027-8C1C-424B-919C-981F586F301D}"/>
              </a:ext>
            </a:extLst>
          </p:cNvPr>
          <p:cNvSpPr txBox="1">
            <a:spLocks/>
          </p:cNvSpPr>
          <p:nvPr/>
        </p:nvSpPr>
        <p:spPr>
          <a:xfrm>
            <a:off x="3487615" y="43546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RESULTS – Sector Worst Case Scenario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1B23E2-347C-6B48-8B1F-40D76EB9064A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hese are available for the Trade, Transport, Manufacturing, Hotel and Restaurants, and Financial Servic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712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C31F4B-8D9E-3446-BC04-F6C6D3446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4384" y="423740"/>
            <a:ext cx="10515600" cy="1325563"/>
          </a:xfrm>
        </p:spPr>
        <p:txBody>
          <a:bodyPr/>
          <a:lstStyle/>
          <a:p>
            <a:r>
              <a:rPr lang="en-US" dirty="0"/>
              <a:t>Key to understand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9206782-5258-D949-BEDA-B7FEEB3DEF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42492" y="1497286"/>
            <a:ext cx="8897816" cy="518361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What is key to understand is that there is a close link between productivity and GDP growth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OVID-19 is key disruptor of productivity in it reduces labor hours, it disrupts supply chains, it reduces mobility of goods and services, and travel ba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t however is unlikely  to cause a total shut down of economic activi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impact therefore is partial and will be most acute in 2020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 quick recovery is likely depending on medical interventions.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697F53BB-79D9-2648-A119-48085A6F385E}"/>
              </a:ext>
            </a:extLst>
          </p:cNvPr>
          <p:cNvSpPr/>
          <p:nvPr/>
        </p:nvSpPr>
        <p:spPr>
          <a:xfrm>
            <a:off x="1266083" y="1632073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388B921F-0ECE-CD44-88CA-61D50645580A}"/>
              </a:ext>
            </a:extLst>
          </p:cNvPr>
          <p:cNvSpPr/>
          <p:nvPr/>
        </p:nvSpPr>
        <p:spPr>
          <a:xfrm>
            <a:off x="1266083" y="2833688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4637F875-FDD8-9144-87B6-6AC02E424527}"/>
              </a:ext>
            </a:extLst>
          </p:cNvPr>
          <p:cNvSpPr/>
          <p:nvPr/>
        </p:nvSpPr>
        <p:spPr>
          <a:xfrm>
            <a:off x="1266082" y="4007033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BAAC2700-0513-A34A-8097-10B2919FA28D}"/>
              </a:ext>
            </a:extLst>
          </p:cNvPr>
          <p:cNvSpPr/>
          <p:nvPr/>
        </p:nvSpPr>
        <p:spPr>
          <a:xfrm>
            <a:off x="1266082" y="4955564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8C23F9E-35C1-294A-BCC6-BAABF4A89991}"/>
              </a:ext>
            </a:extLst>
          </p:cNvPr>
          <p:cNvSpPr/>
          <p:nvPr/>
        </p:nvSpPr>
        <p:spPr>
          <a:xfrm>
            <a:off x="1266082" y="5983411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8623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0DF6BE5-7EE4-724D-95C2-91E2EBB119DC}"/>
              </a:ext>
            </a:extLst>
          </p:cNvPr>
          <p:cNvSpPr txBox="1">
            <a:spLocks/>
          </p:cNvSpPr>
          <p:nvPr/>
        </p:nvSpPr>
        <p:spPr>
          <a:xfrm>
            <a:off x="4648200" y="42374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nload Present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3CB2885-3240-C943-9437-DB5788994A63}"/>
              </a:ext>
            </a:extLst>
          </p:cNvPr>
          <p:cNvSpPr txBox="1">
            <a:spLocks/>
          </p:cNvSpPr>
          <p:nvPr/>
        </p:nvSpPr>
        <p:spPr>
          <a:xfrm>
            <a:off x="1260231" y="174930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esentation available at: https://</a:t>
            </a:r>
            <a:r>
              <a:rPr lang="en-US" dirty="0" err="1"/>
              <a:t>github.com</a:t>
            </a:r>
            <a:r>
              <a:rPr lang="en-US" dirty="0"/>
              <a:t>/</a:t>
            </a:r>
            <a:r>
              <a:rPr lang="en-US" dirty="0" err="1"/>
              <a:t>xolaniss</a:t>
            </a:r>
            <a:r>
              <a:rPr lang="en-US" dirty="0"/>
              <a:t>/COVID_19</a:t>
            </a:r>
          </a:p>
        </p:txBody>
      </p:sp>
    </p:spTree>
    <p:extLst>
      <p:ext uri="{BB962C8B-B14F-4D97-AF65-F5344CB8AC3E}">
        <p14:creationId xmlns:p14="http://schemas.microsoft.com/office/powerpoint/2010/main" val="429165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82D256-36C6-194C-813B-328C687FF574}"/>
              </a:ext>
            </a:extLst>
          </p:cNvPr>
          <p:cNvSpPr txBox="1">
            <a:spLocks/>
          </p:cNvSpPr>
          <p:nvPr/>
        </p:nvSpPr>
        <p:spPr>
          <a:xfrm>
            <a:off x="2878016" y="40029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What is productivity shock in economic terms?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F988317-1FC6-C148-AA45-86D478937C5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 simple terms it is any factor real or sentiment that can reduce the efficiency with which production can occur.</a:t>
            </a:r>
          </a:p>
          <a:p>
            <a:r>
              <a:rPr lang="en-US"/>
              <a:t>For example employee absenteeism can reduce labor hours thereby reduce output</a:t>
            </a:r>
          </a:p>
          <a:p>
            <a:r>
              <a:rPr lang="en-US"/>
              <a:t>Another example can be the disruptions of production input supply chains which can have an impact on output</a:t>
            </a:r>
          </a:p>
          <a:p>
            <a:r>
              <a:rPr lang="en-US"/>
              <a:t>These factors can vary to include health issues such as those presented by COVID-19</a:t>
            </a:r>
          </a:p>
          <a:p>
            <a:r>
              <a:rPr lang="en-US"/>
              <a:t>Productivity cannot be thought of as production or outpu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96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81B9848-EFE8-064B-97DB-8F6155530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862" y="447187"/>
            <a:ext cx="10515600" cy="1325563"/>
          </a:xfrm>
        </p:spPr>
        <p:txBody>
          <a:bodyPr/>
          <a:lstStyle/>
          <a:p>
            <a:r>
              <a:rPr lang="en-US" dirty="0"/>
              <a:t>COVID-19 as productivity shock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C48BE3F-A0F8-B04A-863E-400DA6EEA6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112111"/>
              </p:ext>
            </p:extLst>
          </p:nvPr>
        </p:nvGraphicFramePr>
        <p:xfrm>
          <a:off x="762488" y="1585739"/>
          <a:ext cx="11112501" cy="49110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7691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4484269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4290541">
                  <a:extLst>
                    <a:ext uri="{9D8B030D-6E8A-4147-A177-3AD203B41FA5}">
                      <a16:colId xmlns:a16="http://schemas.microsoft.com/office/drawing/2014/main" val="3982169986"/>
                    </a:ext>
                  </a:extLst>
                </a:gridCol>
              </a:tblGrid>
              <a:tr h="38757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VID-19 RESPON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QUIVALENT PRODUCTITY SH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otential Sector Disrup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1624626">
                <a:tc>
                  <a:txBody>
                    <a:bodyPr/>
                    <a:lstStyle/>
                    <a:p>
                      <a:r>
                        <a:rPr lang="en-US" sz="1600" dirty="0"/>
                        <a:t>Social distanc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duction in labor hours</a:t>
                      </a:r>
                    </a:p>
                    <a:p>
                      <a:r>
                        <a:rPr lang="en-US" sz="1600" dirty="0"/>
                        <a:t>Reduction in demand in some sectors</a:t>
                      </a:r>
                    </a:p>
                    <a:p>
                      <a:r>
                        <a:rPr lang="en-US" sz="1600" dirty="0"/>
                        <a:t>Increase in demand in other secto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duction to business and consumer confidence</a:t>
                      </a:r>
                    </a:p>
                    <a:p>
                      <a:endParaRPr lang="en-US" sz="1600" dirty="0"/>
                    </a:p>
                    <a:p>
                      <a:endParaRPr lang="en-US" sz="16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sz="1600" dirty="0"/>
                        <a:t>All sectors will be affected by reduced working. Some sectors which are service based will be impacted most. Sectors such as retail and wholesale trade, financial services, and transport. 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Increases in the government sector can be expected with increased demand on services. Downstream health sectors will also increase their activities.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Construction may be positively impacted with emergency construction proje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1529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Health iss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duction in labor hours</a:t>
                      </a:r>
                    </a:p>
                    <a:p>
                      <a:r>
                        <a:rPr lang="en-US" sz="1600" dirty="0"/>
                        <a:t>Increase in government expenditure on health and other services, including infrastructure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369783">
                <a:tc>
                  <a:txBody>
                    <a:bodyPr/>
                    <a:lstStyle/>
                    <a:p>
                      <a:r>
                        <a:rPr lang="en-US" sz="1600" dirty="0"/>
                        <a:t>Travel ban (international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duced mobility of labor and resources</a:t>
                      </a:r>
                    </a:p>
                    <a:p>
                      <a:r>
                        <a:rPr lang="en-US" sz="1600" dirty="0"/>
                        <a:t>Supply chain disruptions</a:t>
                      </a:r>
                    </a:p>
                    <a:p>
                      <a:r>
                        <a:rPr lang="en-US" sz="1600" dirty="0"/>
                        <a:t>Impact on tourism specifically</a:t>
                      </a:r>
                    </a:p>
                    <a:p>
                      <a:endParaRPr lang="en-US" sz="1600" dirty="0"/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xport based sectors will impacted the most. In particular manufacturing, tourism, mining, and agriculture. 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This also means a closed econom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589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A9BF0-248C-7A41-9F91-A25D227587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4723" y="1579440"/>
            <a:ext cx="10873154" cy="466725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Particularly, the GPT TERM model is a dynamic multi-regional (or national and provincial)  computable general equilibrium (CGE) model of South Africa.</a:t>
            </a:r>
          </a:p>
          <a:p>
            <a:r>
              <a:rPr lang="en-US" dirty="0"/>
              <a:t>This model was built by the University of Pretoria and the Centre for Policy Studies in Australia</a:t>
            </a:r>
          </a:p>
          <a:p>
            <a:r>
              <a:rPr lang="en-US" dirty="0"/>
              <a:t>The model is constituted by </a:t>
            </a:r>
            <a:r>
              <a:rPr lang="en-US" b="1" dirty="0"/>
              <a:t>9 regional economies </a:t>
            </a:r>
            <a:r>
              <a:rPr lang="en-US" dirty="0"/>
              <a:t>(or provinces), </a:t>
            </a:r>
            <a:r>
              <a:rPr lang="en-US" b="1" dirty="0"/>
              <a:t>52 industries</a:t>
            </a:r>
            <a:r>
              <a:rPr lang="en-US" dirty="0"/>
              <a:t> and commodities, </a:t>
            </a:r>
            <a:r>
              <a:rPr lang="en-US" b="1" dirty="0"/>
              <a:t>48 households</a:t>
            </a:r>
            <a:r>
              <a:rPr lang="en-US" dirty="0"/>
              <a:t>, </a:t>
            </a:r>
            <a:r>
              <a:rPr lang="en-US" b="1" dirty="0"/>
              <a:t>12 income groups</a:t>
            </a:r>
            <a:r>
              <a:rPr lang="en-US" dirty="0"/>
              <a:t>, 6 indirect taxes, and </a:t>
            </a:r>
            <a:r>
              <a:rPr lang="en-US" b="1" dirty="0"/>
              <a:t>10 occupations</a:t>
            </a:r>
            <a:r>
              <a:rPr lang="en-US" dirty="0"/>
              <a:t>. </a:t>
            </a:r>
          </a:p>
          <a:p>
            <a:r>
              <a:rPr lang="en-US" dirty="0"/>
              <a:t>The GPT TERM model has a fully-fledged government finance module (GFS) which details government income and government expenditure.</a:t>
            </a:r>
          </a:p>
          <a:p>
            <a:r>
              <a:rPr lang="en-US" dirty="0"/>
              <a:t> The GPT TERM model estimates policy impacts from the years 2016 to 2025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C434FD-DBAA-8A4F-B67B-47A0CBEFD32E}"/>
              </a:ext>
            </a:extLst>
          </p:cNvPr>
          <p:cNvSpPr txBox="1">
            <a:spLocks/>
          </p:cNvSpPr>
          <p:nvPr/>
        </p:nvSpPr>
        <p:spPr>
          <a:xfrm>
            <a:off x="4882661" y="45317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e GPT TERM Model</a:t>
            </a:r>
          </a:p>
        </p:txBody>
      </p:sp>
    </p:spTree>
    <p:extLst>
      <p:ext uri="{BB962C8B-B14F-4D97-AF65-F5344CB8AC3E}">
        <p14:creationId xmlns:p14="http://schemas.microsoft.com/office/powerpoint/2010/main" val="303374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C01904B-D769-164F-A94A-9FCA9F144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2831" y="438127"/>
            <a:ext cx="10515600" cy="1325563"/>
          </a:xfrm>
        </p:spPr>
        <p:txBody>
          <a:bodyPr/>
          <a:lstStyle/>
          <a:p>
            <a:r>
              <a:rPr lang="en-US" dirty="0"/>
              <a:t>GPT TERM Modelling Process for COVID-19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93051E57-8853-E94C-A23C-25837CD32D23}"/>
              </a:ext>
            </a:extLst>
          </p:cNvPr>
          <p:cNvSpPr/>
          <p:nvPr/>
        </p:nvSpPr>
        <p:spPr>
          <a:xfrm>
            <a:off x="858647" y="1622569"/>
            <a:ext cx="2111829" cy="631371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seline Estimation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0A31DDD9-C894-5A40-BF0D-89441E004000}"/>
              </a:ext>
            </a:extLst>
          </p:cNvPr>
          <p:cNvSpPr/>
          <p:nvPr/>
        </p:nvSpPr>
        <p:spPr>
          <a:xfrm>
            <a:off x="3627629" y="1622569"/>
            <a:ext cx="2111829" cy="631371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licy Simulation Design</a:t>
            </a: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ED88395E-7BAF-454E-AF4E-BA92314C9E91}"/>
              </a:ext>
            </a:extLst>
          </p:cNvPr>
          <p:cNvSpPr/>
          <p:nvPr/>
        </p:nvSpPr>
        <p:spPr>
          <a:xfrm>
            <a:off x="6396611" y="1631183"/>
            <a:ext cx="2111829" cy="631371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licy Shock Implementation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00E448E3-0BA6-A14F-BD5E-35423E5DD876}"/>
              </a:ext>
            </a:extLst>
          </p:cNvPr>
          <p:cNvSpPr/>
          <p:nvPr/>
        </p:nvSpPr>
        <p:spPr>
          <a:xfrm>
            <a:off x="9634825" y="1633474"/>
            <a:ext cx="2111829" cy="631371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ults and Analys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53C503-CDC5-5A4C-8340-548FEB821660}"/>
              </a:ext>
            </a:extLst>
          </p:cNvPr>
          <p:cNvSpPr txBox="1"/>
          <p:nvPr/>
        </p:nvSpPr>
        <p:spPr>
          <a:xfrm>
            <a:off x="682012" y="2447611"/>
            <a:ext cx="2492829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National Treasury 2020 Budget Forecast was used to update th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is is the business as usual scenario for the country prior to the impact of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is in turn allows for a clean estimation of the impact of COVID-19 on the base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the model then estimated the baseline for Gaute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5DEC86-8A7D-4640-AFA3-371056E39A6A}"/>
              </a:ext>
            </a:extLst>
          </p:cNvPr>
          <p:cNvSpPr txBox="1"/>
          <p:nvPr/>
        </p:nvSpPr>
        <p:spPr>
          <a:xfrm>
            <a:off x="3374748" y="2447611"/>
            <a:ext cx="261759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OVID-19 is expected to impact productivity in the Gauteng economy in general. But specifically in sectors are more likely to impacted as outline abo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n this manner , Simulation 1 (SIM 1) is a productivity shock on all Gauteng sectors to estimate the average impact of COVID-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IM 2 to 6 are productivity shocks, in turn, to the manufacturing, finance, trade, hotel and restaurants, and transport sector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6D7B9E-E641-094E-8995-86B758287986}"/>
              </a:ext>
            </a:extLst>
          </p:cNvPr>
          <p:cNvSpPr txBox="1"/>
          <p:nvPr/>
        </p:nvSpPr>
        <p:spPr>
          <a:xfrm>
            <a:off x="6102692" y="2378894"/>
            <a:ext cx="3431870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 SIM 1 a </a:t>
            </a:r>
            <a:r>
              <a:rPr lang="en-US" sz="1400" b="1" dirty="0"/>
              <a:t>1 percent </a:t>
            </a:r>
            <a:r>
              <a:rPr lang="en-US" sz="1400" dirty="0"/>
              <a:t>reduction in productivity was implement across all sectors (minimum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 SIM 1 a </a:t>
            </a:r>
            <a:r>
              <a:rPr lang="en-US" sz="1400" b="1" dirty="0"/>
              <a:t>3 percent </a:t>
            </a:r>
            <a:r>
              <a:rPr lang="en-US" sz="1400" dirty="0"/>
              <a:t>reduction in productivity was implement across all sectors (maximum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IM 3 to 7 implemented a </a:t>
            </a:r>
            <a:r>
              <a:rPr lang="en-US" sz="1400" b="1" dirty="0"/>
              <a:t>10 percent </a:t>
            </a:r>
            <a:r>
              <a:rPr lang="en-US" sz="1400" dirty="0"/>
              <a:t>decline in productivity in the manufacturing, finance, trade, hotel and restaurants, and transport secto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Why these numbers? These are best guess at this poi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HOWEVER, A 10 PERCENT REDUCTION IN PRODUCTIVITY DOES NOT MEAN A 10 PERCENT DECLINE IN OUTPUT. THIS WIIL VARY BY SECTOR INPUT UTILISATION. 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WE ARE ASSUMING THAT THE COVID-19 IS THE SAME FOR ALL SECTO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BBE8EB-2208-4F49-A888-39EC1BF914C7}"/>
              </a:ext>
            </a:extLst>
          </p:cNvPr>
          <p:cNvSpPr txBox="1"/>
          <p:nvPr/>
        </p:nvSpPr>
        <p:spPr>
          <a:xfrm>
            <a:off x="9444324" y="2460214"/>
            <a:ext cx="249282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results are presented in terms of movements from the baseline or business as usual scenari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 example if GDP was expected at </a:t>
            </a:r>
            <a:r>
              <a:rPr lang="en-US" sz="1400" b="1" dirty="0"/>
              <a:t>6 percent </a:t>
            </a:r>
            <a:r>
              <a:rPr lang="en-US" sz="1400" dirty="0"/>
              <a:t>prior to the impact of COVID-19, then a 1 percent deviation from the baseline means that GDP is now expected at </a:t>
            </a:r>
            <a:r>
              <a:rPr lang="en-US" sz="1400" b="1" dirty="0"/>
              <a:t>5 percent</a:t>
            </a:r>
            <a:r>
              <a:rPr lang="en-US" sz="14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r in year on year terms. For example, GDP will decline by 6 percent in 2020 under the worst trade scenario.</a:t>
            </a:r>
          </a:p>
        </p:txBody>
      </p:sp>
    </p:spTree>
    <p:extLst>
      <p:ext uri="{BB962C8B-B14F-4D97-AF65-F5344CB8AC3E}">
        <p14:creationId xmlns:p14="http://schemas.microsoft.com/office/powerpoint/2010/main" val="424519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15D18F0-B8A2-004E-8A6F-655BE8B6A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9706" y="435466"/>
            <a:ext cx="10515600" cy="1325563"/>
          </a:xfrm>
        </p:spPr>
        <p:txBody>
          <a:bodyPr/>
          <a:lstStyle/>
          <a:p>
            <a:r>
              <a:rPr lang="en-US" dirty="0"/>
              <a:t>Productivity shock to labor versus all inpu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C51AB81-A48D-354D-9364-F1C62E5199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8041675"/>
              </p:ext>
            </p:extLst>
          </p:nvPr>
        </p:nvGraphicFramePr>
        <p:xfrm>
          <a:off x="936380" y="1596907"/>
          <a:ext cx="10687051" cy="44235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9335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5987716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</a:tblGrid>
              <a:tr h="34390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VID-19 IMPACTED S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ODUCTITY SHOCK IMPLEMEN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All sec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verage productivity shock on all inputs to all se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verage productivity shock on all inputs to all secto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Trade (Retail and Wholesal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 labor productivity sh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r>
                        <a:rPr lang="en-US" sz="1800" dirty="0"/>
                        <a:t>Hotel and Restaur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 labor productivity shock</a:t>
                      </a:r>
                    </a:p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886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is a labor productivity sh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011215">
                <a:tc>
                  <a:txBody>
                    <a:bodyPr/>
                    <a:lstStyle/>
                    <a:p>
                      <a:r>
                        <a:rPr lang="en-US" sz="1800" dirty="0"/>
                        <a:t>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is average productivity shock on all inputs to all sectors</a:t>
                      </a:r>
                    </a:p>
                    <a:p>
                      <a:endParaRPr lang="en-US" sz="1800" dirty="0"/>
                    </a:p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50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6BF6AB9-E403-EB48-A85C-E911B85DF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5185" y="423741"/>
            <a:ext cx="10515600" cy="1325563"/>
          </a:xfrm>
        </p:spPr>
        <p:txBody>
          <a:bodyPr/>
          <a:lstStyle/>
          <a:p>
            <a:r>
              <a:rPr lang="en-US" dirty="0"/>
              <a:t>RESULTS – Minimum Scenario (Macro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B4BFDBA-7BB0-3348-B3CB-77D9C2764C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646778"/>
              </p:ext>
            </p:extLst>
          </p:nvPr>
        </p:nvGraphicFramePr>
        <p:xfrm>
          <a:off x="1132589" y="1636817"/>
          <a:ext cx="10687049" cy="4232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34390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G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 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ouseh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0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1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3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r>
                        <a:rPr lang="en-US" sz="1800" dirty="0"/>
                        <a:t>Ex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886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m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1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3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011215">
                <a:tc>
                  <a:txBody>
                    <a:bodyPr/>
                    <a:lstStyle/>
                    <a:p>
                      <a:r>
                        <a:rPr lang="en-US" sz="1800" dirty="0"/>
                        <a:t>Em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550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67B676D-C200-9D49-BC4E-1DB95C3B1B9D}"/>
              </a:ext>
            </a:extLst>
          </p:cNvPr>
          <p:cNvSpPr txBox="1">
            <a:spLocks/>
          </p:cNvSpPr>
          <p:nvPr/>
        </p:nvSpPr>
        <p:spPr>
          <a:xfrm>
            <a:off x="3382108" y="44020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RESULTS – Minimum Scenario (Sectors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D9A76CB-91A1-DB40-9617-8DD95F18E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908988"/>
              </p:ext>
            </p:extLst>
          </p:nvPr>
        </p:nvGraphicFramePr>
        <p:xfrm>
          <a:off x="1214650" y="1714465"/>
          <a:ext cx="10687049" cy="3998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41589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500290">
                <a:tc>
                  <a:txBody>
                    <a:bodyPr/>
                    <a:lstStyle/>
                    <a:p>
                      <a:r>
                        <a:rPr lang="en-US" sz="1800" dirty="0"/>
                        <a:t>T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0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6191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,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Hotel and Restaur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0.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1007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0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369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B8772F4-7169-3146-8BCC-F2D761A0F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354" y="388571"/>
            <a:ext cx="10515600" cy="1325563"/>
          </a:xfrm>
        </p:spPr>
        <p:txBody>
          <a:bodyPr/>
          <a:lstStyle/>
          <a:p>
            <a:r>
              <a:rPr lang="en-US" dirty="0"/>
              <a:t>RESULTS – Maximum Scenario (Macro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A898C88-0DB0-FA41-B3F1-B89C708AD9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664618"/>
              </p:ext>
            </p:extLst>
          </p:nvPr>
        </p:nvGraphicFramePr>
        <p:xfrm>
          <a:off x="1226373" y="1824386"/>
          <a:ext cx="10687049" cy="4232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34390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G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6.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ouseh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5.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8.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3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8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r>
                        <a:rPr lang="en-US" sz="1800" dirty="0"/>
                        <a:t>Ex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886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m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011215">
                <a:tc>
                  <a:txBody>
                    <a:bodyPr/>
                    <a:lstStyle/>
                    <a:p>
                      <a:r>
                        <a:rPr lang="en-US" sz="1800" dirty="0"/>
                        <a:t>Em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2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746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n_N382gn6uMCyJ5jgm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Nz.wuMqzigNgtq93Gn_A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0</TotalTime>
  <Words>1156</Words>
  <Application>Microsoft Macintosh PowerPoint</Application>
  <PresentationFormat>Widescreen</PresentationFormat>
  <Paragraphs>281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1_Office Theme</vt:lpstr>
      <vt:lpstr>think-cell Slide</vt:lpstr>
      <vt:lpstr>Economic Impact of COVID-19 on the Gauteng Economy</vt:lpstr>
      <vt:lpstr>PowerPoint Presentation</vt:lpstr>
      <vt:lpstr>COVID-19 as productivity shock</vt:lpstr>
      <vt:lpstr>PowerPoint Presentation</vt:lpstr>
      <vt:lpstr>GPT TERM Modelling Process for COVID-19</vt:lpstr>
      <vt:lpstr>Productivity shock to labor versus all inputs</vt:lpstr>
      <vt:lpstr>RESULTS – Minimum Scenario (Macro)</vt:lpstr>
      <vt:lpstr>PowerPoint Presentation</vt:lpstr>
      <vt:lpstr>RESULTS – Maximum Scenario (Macro)</vt:lpstr>
      <vt:lpstr>RESULTS – Maximum Scenario (Sectors)</vt:lpstr>
      <vt:lpstr>PowerPoint Presentation</vt:lpstr>
      <vt:lpstr>Key to understan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bande, Xolani (GPT)</dc:creator>
  <cp:lastModifiedBy>Sibande, Xolani (GPT)</cp:lastModifiedBy>
  <cp:revision>17</cp:revision>
  <cp:lastPrinted>2020-03-20T14:30:27Z</cp:lastPrinted>
  <dcterms:created xsi:type="dcterms:W3CDTF">2020-03-20T07:22:19Z</dcterms:created>
  <dcterms:modified xsi:type="dcterms:W3CDTF">2020-03-20T14:30:45Z</dcterms:modified>
</cp:coreProperties>
</file>